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DD1634ED-7AF5-4AA7-BB4A-C6198E5D2709}">
          <p14:sldIdLst>
            <p14:sldId id="2147475173"/>
            <p14:sldId id="2147475174"/>
            <p14:sldId id="2147475175"/>
            <p14:sldId id="2147475176"/>
            <p14:sldId id="2147475177"/>
            <p14:sldId id="2147475178"/>
            <p14:sldId id="2147475179"/>
            <p14:sldId id="2147475180"/>
            <p14:sldId id="2147475181"/>
          </p14:sldIdLst>
        </p14:section>
        <p14:section name="Brackets By Segment" id="{BFFFDFD3-03BC-49E1-B331-4FAEAE6B005D}">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09149743579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062566896280507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8578572921907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0925836285965481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901211567034944</c:v>
                </c:pt>
                <c:pt idx="3">
                  <c:v>0.329352751122559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1811032779997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663023647419829</c:v>
                </c:pt>
                <c:pt idx="3">
                  <c:v>0.1466301763153071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99891712009472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3730214756513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36978545538014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7222352251378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316254608162919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4255533683796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094976546410862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517678854790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14183949294502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3439320626533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50141091619643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60030493977859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482559653548316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9722476701833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0945192576377831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4680680108691337</c:v>
                </c:pt>
                <c:pt idx="3">
                  <c:v>0.29015840990233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41960324694266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5123920736938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2271689299403324</c:v>
                </c:pt>
                <c:pt idx="3">
                  <c:v>0.126041206934905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91558245612785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09149743579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32814990068938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8578572921907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901211567034944</c:v>
                </c:pt>
                <c:pt idx="3">
                  <c:v>0.329352751122559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1811032779997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663023647419829</c:v>
                </c:pt>
                <c:pt idx="3">
                  <c:v>0.1466301763153071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99891712009472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3730214756513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91495669651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7222352251378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4255533683796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094976546410862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14183949294502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535759737186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3439320626533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60030493977859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71958934388501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9722476701833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4680680108691337</c:v>
                </c:pt>
                <c:pt idx="3">
                  <c:v>0.29015840990233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5123920736938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2271689299403324</c:v>
                </c:pt>
                <c:pt idx="3">
                  <c:v>0.126041206934905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91558245612785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09149743579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85785729219074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199070362454906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9901211567034944</c:v>
                </c:pt>
                <c:pt idx="3">
                  <c:v>0.329352751122559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47116507795510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18110327799971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1620488823507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663023647419829</c:v>
                </c:pt>
                <c:pt idx="3">
                  <c:v>0.14663017631530711</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998917120094720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577078911186099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3730214756513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7222352251378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302202708974538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4255533683796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438605381181889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553042603771280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094976546410862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14183949294502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3439320626533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60030493977859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39722476701833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83164260621904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4680680108691337</c:v>
                </c:pt>
                <c:pt idx="3">
                  <c:v>0.290158409902332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419179818704739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25123920736938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2271689299403324</c:v>
                </c:pt>
                <c:pt idx="3">
                  <c:v>0.126041206934905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91558245612785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155150524877055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535759737186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32816902911265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02435819598777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02435819598777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517678854790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91506821952563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41960324694266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1620488823507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071958934388501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438605381181889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9634658298369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6531448041233236</c:v>
                </c:pt>
                <c:pt idx="3">
                  <c:v>0.95357597371864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546186870250416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02435819598777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550999759585883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517678854790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55245312745819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41960324694266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4420977982501233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730459205091881</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695236940809466</c:v>
                </c:pt>
                <c:pt idx="3">
                  <c:v>0.916204888235073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302344079326643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438605381181889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6395519353098401</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9227939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121846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92657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040045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103143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8060457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6206787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3496493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6869900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232559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536851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0266441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0774415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455822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5453452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1345683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5594656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4900509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05138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10617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830223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366333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0899384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095225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500692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0019756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472197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